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82" r:id="rId5"/>
  </p:sldMasterIdLst>
  <p:notesMasterIdLst>
    <p:notesMasterId r:id="rId7"/>
  </p:notesMasterIdLst>
  <p:handoutMasterIdLst>
    <p:handoutMasterId r:id="rId8"/>
  </p:handoutMasterIdLst>
  <p:sldIdLst>
    <p:sldId id="514" r:id="rId6"/>
  </p:sldIdLst>
  <p:sldSz cx="12190413" cy="6858000"/>
  <p:notesSz cx="6731000" cy="98679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E26A97A-68FC-471F-8043-0CBAAB0C4FC9}">
          <p14:sldIdLst>
            <p14:sldId id="5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793">
          <p15:clr>
            <a:srgbClr val="A4A3A4"/>
          </p15:clr>
        </p15:guide>
        <p15:guide id="2" orient="horz" pos="255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pos="301" userDrawn="1">
          <p15:clr>
            <a:srgbClr val="A4A3A4"/>
          </p15:clr>
        </p15:guide>
        <p15:guide id="6" orient="horz" pos="663" userDrawn="1">
          <p15:clr>
            <a:srgbClr val="A4A3A4"/>
          </p15:clr>
        </p15:guide>
        <p15:guide id="7" orient="horz" pos="2341" userDrawn="1">
          <p15:clr>
            <a:srgbClr val="A4A3A4"/>
          </p15:clr>
        </p15:guide>
        <p15:guide id="8" pos="29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orient="horz" pos="1071" userDrawn="1">
          <p15:clr>
            <a:srgbClr val="A4A3A4"/>
          </p15:clr>
        </p15:guide>
        <p15:guide id="11" orient="horz" pos="890" userDrawn="1">
          <p15:clr>
            <a:srgbClr val="A4A3A4"/>
          </p15:clr>
        </p15:guide>
        <p15:guide id="12" orient="horz" pos="2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6">
          <p15:clr>
            <a:srgbClr val="A4A3A4"/>
          </p15:clr>
        </p15:guide>
        <p15:guide id="2" orient="horz" pos="5830">
          <p15:clr>
            <a:srgbClr val="A4A3A4"/>
          </p15:clr>
        </p15:guide>
        <p15:guide id="3" orient="horz" pos="2201">
          <p15:clr>
            <a:srgbClr val="A4A3A4"/>
          </p15:clr>
        </p15:guide>
        <p15:guide id="4" orient="horz" pos="2065">
          <p15:clr>
            <a:srgbClr val="A4A3A4"/>
          </p15:clr>
        </p15:guide>
        <p15:guide id="5" pos="306">
          <p15:clr>
            <a:srgbClr val="A4A3A4"/>
          </p15:clr>
        </p15:guide>
        <p15:guide id="6" pos="393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B38F23-365E-158E-F1A3-A3A006870CBA}" name="WANIEK Anton" initials="WA" userId="S::anton.waniek@iconpro.com::26d08852-0ba8-4e88-b98a-ed101480a16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D9CB"/>
    <a:srgbClr val="B9E1D8"/>
    <a:srgbClr val="FF6600"/>
    <a:srgbClr val="99CCFF"/>
    <a:srgbClr val="7F7F7F"/>
    <a:srgbClr val="F29400"/>
    <a:srgbClr val="25BAE2"/>
    <a:srgbClr val="6DBFA9"/>
    <a:srgbClr val="999999"/>
    <a:srgbClr val="33B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E8D3DE-D52F-4022-93B9-E87E0F005E41}" v="166" dt="2022-04-22T15:39:55.222"/>
    <p1510:client id="{E50A1A2D-61DE-A5E4-5CFE-12767374E236}" v="12" dt="2022-04-22T15:36:47.2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-211"/>
      </p:cViewPr>
      <p:guideLst>
        <p:guide orient="horz" pos="3793"/>
        <p:guide orient="horz" pos="255"/>
        <p:guide pos="7378"/>
        <p:guide pos="301"/>
        <p:guide orient="horz" pos="663"/>
        <p:guide orient="horz" pos="2341"/>
        <p:guide pos="29"/>
        <p:guide pos="3840"/>
        <p:guide orient="horz" pos="1071"/>
        <p:guide orient="horz" pos="890"/>
        <p:guide orient="horz" pos="2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86"/>
        <p:guide orient="horz" pos="5830"/>
        <p:guide orient="horz" pos="2201"/>
        <p:guide orient="horz" pos="2065"/>
        <p:guide pos="306"/>
        <p:guide pos="3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RANJAPE Akshay" userId="f339f22c-bbcf-48af-ae31-f93a0c772422" providerId="ADAL" clId="{5E71B06C-5B74-4DAD-848B-F79FC0835B51}"/>
    <pc:docChg chg="modSld">
      <pc:chgData name="PARANJAPE Akshay" userId="f339f22c-bbcf-48af-ae31-f93a0c772422" providerId="ADAL" clId="{5E71B06C-5B74-4DAD-848B-F79FC0835B51}" dt="2021-10-01T08:54:14.630" v="13" actId="20577"/>
      <pc:docMkLst>
        <pc:docMk/>
      </pc:docMkLst>
      <pc:sldChg chg="modSp mod">
        <pc:chgData name="PARANJAPE Akshay" userId="f339f22c-bbcf-48af-ae31-f93a0c772422" providerId="ADAL" clId="{5E71B06C-5B74-4DAD-848B-F79FC0835B51}" dt="2021-10-01T08:54:14.630" v="13" actId="20577"/>
        <pc:sldMkLst>
          <pc:docMk/>
          <pc:sldMk cId="1159667350" sldId="514"/>
        </pc:sldMkLst>
        <pc:spChg chg="mod">
          <ac:chgData name="PARANJAPE Akshay" userId="f339f22c-bbcf-48af-ae31-f93a0c772422" providerId="ADAL" clId="{5E71B06C-5B74-4DAD-848B-F79FC0835B51}" dt="2021-10-01T08:54:14.630" v="13" actId="20577"/>
          <ac:spMkLst>
            <pc:docMk/>
            <pc:sldMk cId="1159667350" sldId="514"/>
            <ac:spMk id="5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1:34.526" v="7" actId="14100"/>
          <ac:spMkLst>
            <pc:docMk/>
            <pc:sldMk cId="1159667350" sldId="514"/>
            <ac:spMk id="6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2:04.130" v="11" actId="242"/>
          <ac:spMkLst>
            <pc:docMk/>
            <pc:sldMk cId="1159667350" sldId="514"/>
            <ac:spMk id="8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1:29.277" v="5" actId="14100"/>
          <ac:spMkLst>
            <pc:docMk/>
            <pc:sldMk cId="1159667350" sldId="514"/>
            <ac:spMk id="9" creationId="{00000000-0000-0000-0000-000000000000}"/>
          </ac:spMkLst>
        </pc:spChg>
        <pc:spChg chg="mod">
          <ac:chgData name="PARANJAPE Akshay" userId="f339f22c-bbcf-48af-ae31-f93a0c772422" providerId="ADAL" clId="{5E71B06C-5B74-4DAD-848B-F79FC0835B51}" dt="2021-10-01T08:52:01.133" v="10" actId="242"/>
          <ac:spMkLst>
            <pc:docMk/>
            <pc:sldMk cId="1159667350" sldId="514"/>
            <ac:spMk id="10" creationId="{00000000-0000-0000-0000-000000000000}"/>
          </ac:spMkLst>
        </pc:spChg>
      </pc:sldChg>
    </pc:docChg>
  </pc:docChgLst>
  <pc:docChgLst>
    <pc:chgData name="PARANJAPE Akshay" userId="f339f22c-bbcf-48af-ae31-f93a0c772422" providerId="ADAL" clId="{D8E8D3DE-D52F-4022-93B9-E87E0F005E41}"/>
    <pc:docChg chg="undo custSel modSld">
      <pc:chgData name="PARANJAPE Akshay" userId="f339f22c-bbcf-48af-ae31-f93a0c772422" providerId="ADAL" clId="{D8E8D3DE-D52F-4022-93B9-E87E0F005E41}" dt="2022-04-22T15:39:55.222" v="1732"/>
      <pc:docMkLst>
        <pc:docMk/>
      </pc:docMkLst>
      <pc:sldChg chg="addSp modSp mod delCm modCm">
        <pc:chgData name="PARANJAPE Akshay" userId="f339f22c-bbcf-48af-ae31-f93a0c772422" providerId="ADAL" clId="{D8E8D3DE-D52F-4022-93B9-E87E0F005E41}" dt="2022-04-22T15:39:55.222" v="1732"/>
        <pc:sldMkLst>
          <pc:docMk/>
          <pc:sldMk cId="1159667350" sldId="514"/>
        </pc:sldMkLst>
        <pc:spChg chg="mod">
          <ac:chgData name="PARANJAPE Akshay" userId="f339f22c-bbcf-48af-ae31-f93a0c772422" providerId="ADAL" clId="{D8E8D3DE-D52F-4022-93B9-E87E0F005E41}" dt="2022-04-22T14:53:17.593" v="548" actId="20577"/>
          <ac:spMkLst>
            <pc:docMk/>
            <pc:sldMk cId="1159667350" sldId="514"/>
            <ac:spMk id="2" creationId="{00000000-0000-0000-0000-000000000000}"/>
          </ac:spMkLst>
        </pc:spChg>
        <pc:spChg chg="add mod">
          <ac:chgData name="PARANJAPE Akshay" userId="f339f22c-bbcf-48af-ae31-f93a0c772422" providerId="ADAL" clId="{D8E8D3DE-D52F-4022-93B9-E87E0F005E41}" dt="2022-04-22T15:38:49.792" v="1728" actId="20577"/>
          <ac:spMkLst>
            <pc:docMk/>
            <pc:sldMk cId="1159667350" sldId="514"/>
            <ac:spMk id="3" creationId="{1DB75E33-F191-4D8C-93C6-96F793AD4C7E}"/>
          </ac:spMkLst>
        </pc:spChg>
        <pc:spChg chg="mod">
          <ac:chgData name="PARANJAPE Akshay" userId="f339f22c-bbcf-48af-ae31-f93a0c772422" providerId="ADAL" clId="{D8E8D3DE-D52F-4022-93B9-E87E0F005E41}" dt="2022-04-22T14:44:58.371" v="0" actId="20577"/>
          <ac:spMkLst>
            <pc:docMk/>
            <pc:sldMk cId="1159667350" sldId="514"/>
            <ac:spMk id="5" creationId="{00000000-0000-0000-0000-000000000000}"/>
          </ac:spMkLst>
        </pc:spChg>
        <pc:spChg chg="mod">
          <ac:chgData name="PARANJAPE Akshay" userId="f339f22c-bbcf-48af-ae31-f93a0c772422" providerId="ADAL" clId="{D8E8D3DE-D52F-4022-93B9-E87E0F005E41}" dt="2022-04-22T15:39:11.272" v="1729" actId="20577"/>
          <ac:spMkLst>
            <pc:docMk/>
            <pc:sldMk cId="1159667350" sldId="514"/>
            <ac:spMk id="8" creationId="{00000000-0000-0000-0000-000000000000}"/>
          </ac:spMkLst>
        </pc:spChg>
        <pc:spChg chg="mod">
          <ac:chgData name="PARANJAPE Akshay" userId="f339f22c-bbcf-48af-ae31-f93a0c772422" providerId="ADAL" clId="{D8E8D3DE-D52F-4022-93B9-E87E0F005E41}" dt="2022-04-22T15:22:01.685" v="1419" actId="403"/>
          <ac:spMkLst>
            <pc:docMk/>
            <pc:sldMk cId="1159667350" sldId="514"/>
            <ac:spMk id="10" creationId="{00000000-0000-0000-0000-000000000000}"/>
          </ac:spMkLst>
        </pc:spChg>
      </pc:sldChg>
    </pc:docChg>
  </pc:docChgLst>
  <pc:docChgLst>
    <pc:chgData name="WANIEK Anton" userId="S::anton.waniek@iconpro.com::26d08852-0ba8-4e88-b98a-ed101480a167" providerId="AD" clId="Web-{E50A1A2D-61DE-A5E4-5CFE-12767374E236}"/>
    <pc:docChg chg="mod modSld">
      <pc:chgData name="WANIEK Anton" userId="S::anton.waniek@iconpro.com::26d08852-0ba8-4e88-b98a-ed101480a167" providerId="AD" clId="Web-{E50A1A2D-61DE-A5E4-5CFE-12767374E236}" dt="2022-04-22T15:36:39.948" v="8" actId="20577"/>
      <pc:docMkLst>
        <pc:docMk/>
      </pc:docMkLst>
      <pc:sldChg chg="modSp addCm modCm">
        <pc:chgData name="WANIEK Anton" userId="S::anton.waniek@iconpro.com::26d08852-0ba8-4e88-b98a-ed101480a167" providerId="AD" clId="Web-{E50A1A2D-61DE-A5E4-5CFE-12767374E236}" dt="2022-04-22T15:36:39.948" v="8" actId="20577"/>
        <pc:sldMkLst>
          <pc:docMk/>
          <pc:sldMk cId="1159667350" sldId="514"/>
        </pc:sldMkLst>
        <pc:spChg chg="mod">
          <ac:chgData name="WANIEK Anton" userId="S::anton.waniek@iconpro.com::26d08852-0ba8-4e88-b98a-ed101480a167" providerId="AD" clId="Web-{E50A1A2D-61DE-A5E4-5CFE-12767374E236}" dt="2022-04-22T15:36:39.948" v="8" actId="20577"/>
          <ac:spMkLst>
            <pc:docMk/>
            <pc:sldMk cId="1159667350" sldId="514"/>
            <ac:spMk id="3" creationId="{1DB75E33-F191-4D8C-93C6-96F793AD4C7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3175" y="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2E56AE-624E-49E0-8ED0-94A91F974A6E}" type="datetimeFigureOut">
              <a:rPr lang="de-DE" smtClean="0"/>
              <a:t>20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260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3175" y="9372600"/>
            <a:ext cx="2916238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C5AC0-20DA-4069-B102-9653FA907D5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779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85774" y="0"/>
            <a:ext cx="3599826" cy="493713"/>
          </a:xfrm>
          <a:prstGeom prst="rect">
            <a:avLst/>
          </a:prstGeom>
        </p:spPr>
        <p:txBody>
          <a:bodyPr vert="horz" lIns="0" tIns="90000" rIns="91440" bIns="45720" rtlCol="0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05700" y="0"/>
            <a:ext cx="1439525" cy="493713"/>
          </a:xfrm>
          <a:prstGeom prst="rect">
            <a:avLst/>
          </a:prstGeom>
        </p:spPr>
        <p:txBody>
          <a:bodyPr vert="horz" lIns="91440" tIns="90000" rIns="0" bIns="45720" rtlCol="0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D64C5CA1-81F4-43E1-8D15-34184FE6F392}" type="datetimeFigureOut">
              <a:rPr lang="de-DE" smtClean="0"/>
              <a:pPr/>
              <a:t>20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5775" y="612775"/>
            <a:ext cx="4737101" cy="2665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85774" y="3494088"/>
            <a:ext cx="5759451" cy="57604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85774" y="9372600"/>
            <a:ext cx="3599826" cy="493713"/>
          </a:xfrm>
          <a:prstGeom prst="rect">
            <a:avLst/>
          </a:prstGeom>
        </p:spPr>
        <p:txBody>
          <a:bodyPr vert="horz" lIns="0" tIns="45720" rIns="91440" bIns="180000" rtlCol="0" anchor="b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05699" y="9372600"/>
            <a:ext cx="1439525" cy="493713"/>
          </a:xfrm>
          <a:prstGeom prst="rect">
            <a:avLst/>
          </a:prstGeom>
        </p:spPr>
        <p:txBody>
          <a:bodyPr vert="horz" lIns="91440" tIns="45720" rIns="0" bIns="180000" rtlCol="0" anchor="b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6F118F77-BF2E-4843-AA6C-ED9ACCB38B4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435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rgbClr val="179C7D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360363" indent="-184150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536575" indent="-176213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715963" indent="-174625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896938" indent="-180975" algn="l" defTabSz="914400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59235" y="6237390"/>
            <a:ext cx="2496022" cy="540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5" name="Grafik 14" descr="Logo_ausgetausch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908" y="3429000"/>
            <a:ext cx="4320600" cy="712704"/>
          </a:xfrm>
          <a:prstGeom prst="rect">
            <a:avLst/>
          </a:prstGeom>
        </p:spPr>
      </p:pic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Rechteck 13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873015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77838" y="2636890"/>
            <a:ext cx="11233149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634522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086956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77838" y="1773238"/>
            <a:ext cx="11088657" cy="4248150"/>
          </a:xfrm>
        </p:spPr>
        <p:txBody>
          <a:bodyPr/>
          <a:lstStyle>
            <a:lvl1pPr marL="360000" indent="-360000">
              <a:buFont typeface="Wingdings" pitchFamily="2" charset="2"/>
              <a:buChar char="n"/>
              <a:defRPr/>
            </a:lvl1pPr>
            <a:lvl2pPr marL="720000" indent="-360000">
              <a:buFont typeface="Wingdings" pitchFamily="2" charset="2"/>
              <a:buChar char="n"/>
              <a:defRPr/>
            </a:lvl2pPr>
            <a:lvl3pPr marL="1080000">
              <a:defRPr/>
            </a:lvl3pPr>
            <a:lvl4pPr marL="1440000">
              <a:defRPr/>
            </a:lvl4pPr>
            <a:lvl5pPr marL="1800000" indent="-3600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477839" y="155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0" name="Rechteck 9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49666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839" y="334800"/>
            <a:ext cx="11233150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38" y="1773238"/>
            <a:ext cx="11233149" cy="42481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541841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9359235" y="6237390"/>
            <a:ext cx="2496022" cy="540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5" name="Grafik 14" descr="Logo_ausgetausch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908" y="3429000"/>
            <a:ext cx="4320600" cy="712704"/>
          </a:xfrm>
          <a:prstGeom prst="rect">
            <a:avLst/>
          </a:prstGeom>
        </p:spPr>
      </p:pic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Rechteck 13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322350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19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38"/>
            <a:ext cx="11233149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39" y="249287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77838" y="2636890"/>
            <a:ext cx="11233149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646495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39" y="476823"/>
            <a:ext cx="11086956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77838" y="1773238"/>
            <a:ext cx="11088657" cy="4248150"/>
          </a:xfrm>
        </p:spPr>
        <p:txBody>
          <a:bodyPr/>
          <a:lstStyle>
            <a:lvl1pPr marL="360000" indent="-360000">
              <a:buFont typeface="Wingdings" pitchFamily="2" charset="2"/>
              <a:buChar char="n"/>
              <a:defRPr/>
            </a:lvl1pPr>
            <a:lvl2pPr marL="720000" indent="-360000">
              <a:buFont typeface="Wingdings" pitchFamily="2" charset="2"/>
              <a:buChar char="n"/>
              <a:defRPr/>
            </a:lvl2pPr>
            <a:lvl3pPr marL="1080000">
              <a:defRPr/>
            </a:lvl3pPr>
            <a:lvl4pPr marL="1440000">
              <a:defRPr/>
            </a:lvl4pPr>
            <a:lvl5pPr marL="1800000" indent="-3600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477839" y="155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10" name="Rechteck 9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1660697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839" y="334800"/>
            <a:ext cx="11233150" cy="369332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38" y="1773238"/>
            <a:ext cx="11233149" cy="424815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278676" y="6349881"/>
            <a:ext cx="3240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100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/>
              <a:t>inter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77838" y="6349881"/>
            <a:ext cx="18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800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/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de-DE"/>
          </a:p>
        </p:txBody>
      </p:sp>
      <p:sp>
        <p:nvSpPr>
          <p:cNvPr id="9" name="Rechteck 8" descr="valid_FHG_layout_1"/>
          <p:cNvSpPr/>
          <p:nvPr userDrawn="1"/>
        </p:nvSpPr>
        <p:spPr bwMode="auto">
          <a:xfrm>
            <a:off x="6383246" y="6957490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90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30980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334800"/>
            <a:ext cx="11245849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9" y="1774800"/>
            <a:ext cx="11233150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838" y="6349881"/>
            <a:ext cx="180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838" y="6165380"/>
            <a:ext cx="112331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7" name="Grafik 16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51" y="6300000"/>
            <a:ext cx="1417637" cy="233846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0" y="6993540"/>
            <a:ext cx="5832150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27</a:t>
              </a:r>
            </a:p>
          </p:txBody>
        </p:sp>
      </p:grp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2317" y="6304883"/>
            <a:ext cx="727352" cy="35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0" r:id="rId2"/>
    <p:sldLayoutId id="2147483679" r:id="rId3"/>
    <p:sldLayoutId id="2147483674" r:id="rId4"/>
  </p:sldLayoutIdLst>
  <p:hf hd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334800"/>
            <a:ext cx="11245849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9" y="1774800"/>
            <a:ext cx="11233150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838" y="6349881"/>
            <a:ext cx="180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80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838" y="6165380"/>
            <a:ext cx="112331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7" name="Grafik 16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51" y="6300000"/>
            <a:ext cx="1417637" cy="233846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0" y="6993540"/>
            <a:ext cx="5832150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>
                  <a:solidFill>
                    <a:schemeClr val="tx1"/>
                  </a:solidFill>
                </a:rPr>
                <a:t>B 22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4070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hf hdr="0" dt="0"/>
  <p:txStyles>
    <p:titleStyle>
      <a:lvl1pPr marL="0" indent="0" algn="l" defTabSz="504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6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8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4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800000" indent="-360000" algn="l" defTabSz="360000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5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7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9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9138" indent="-358775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1706.03762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  <a:latin typeface="+mj-lt"/>
              </a:rPr>
              <a:t>Timeseries classification with Transformers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fld id="{A06316EC-39FF-4C97-AA6E-29B761CE3E45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1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1727676" y="906086"/>
            <a:ext cx="9983313" cy="2088949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endParaRPr lang="en-US" sz="14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464141" y="906087"/>
            <a:ext cx="1155470" cy="208894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r>
              <a:rPr kumimoji="0" lang="en-US" sz="1400" b="0" i="0" u="none" strike="noStrike" cap="none" normalizeH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Overall Goal &amp; Task</a:t>
            </a: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1727675" y="3212976"/>
            <a:ext cx="9983313" cy="1511052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lement transformer algorithm for classification of timeseries dataset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in the model and report your findings on the validation split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are the results by running </a:t>
            </a: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d LSTM network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Bonus) Perform the same task for timeseries regression analysis</a:t>
            </a: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64141" y="3212976"/>
            <a:ext cx="1155470" cy="151105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b-Tasks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1727675" y="4941968"/>
            <a:ext cx="9983313" cy="1080000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lvl="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et and its description</a:t>
            </a:r>
          </a:p>
          <a:p>
            <a:pPr marL="285750" lvl="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xiliary code, research papers, useful </a:t>
            </a:r>
            <a:r>
              <a:rPr lang="en-US" sz="16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thub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epositories link</a:t>
            </a:r>
          </a:p>
          <a:p>
            <a:pPr marL="285750" lvl="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ming Language: Python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464141" y="4941968"/>
            <a:ext cx="1155470" cy="1080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d Hard- &amp; Software</a:t>
            </a:r>
            <a:endParaRPr kumimoji="0" lang="en-US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B75E33-F191-4D8C-93C6-96F793AD4C7E}"/>
              </a:ext>
            </a:extLst>
          </p:cNvPr>
          <p:cNvSpPr txBox="1"/>
          <p:nvPr/>
        </p:nvSpPr>
        <p:spPr>
          <a:xfrm>
            <a:off x="1846734" y="980728"/>
            <a:ext cx="9793088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>
                <a:latin typeface="Calibri"/>
                <a:cs typeface="Calibri"/>
              </a:rPr>
              <a:t>During the last couple of years, time series classification has become one of the most important problems in Data Science. Time series are present in many real-world applications from production, health care, cyber security, etc. There are various deep learning techniques to tackle the problem of time-series classification. The </a:t>
            </a:r>
            <a:r>
              <a:rPr lang="en-US" sz="1600" i="1">
                <a:latin typeface="Calibri"/>
                <a:cs typeface="Calibri"/>
              </a:rPr>
              <a:t>transformer</a:t>
            </a:r>
            <a:r>
              <a:rPr lang="en-US" sz="1600">
                <a:latin typeface="Calibri"/>
                <a:cs typeface="Calibri"/>
              </a:rPr>
              <a:t> is a new type of neural network which is based solely on attention mechanisms. It has shown significant improvements in tasks like natural language processing, where it completely replaced previous techniques (see </a:t>
            </a:r>
            <a:r>
              <a:rPr lang="en-US" sz="1600">
                <a:latin typeface="Calibri"/>
                <a:cs typeface="Calibri"/>
                <a:hlinkClick r:id="rId2"/>
              </a:rPr>
              <a:t>[1706.03762] Attention Is All You Need (arxiv.org)</a:t>
            </a:r>
            <a:r>
              <a:rPr lang="en-US" sz="1600">
                <a:latin typeface="Calibri"/>
                <a:cs typeface="Calibri"/>
              </a:rPr>
              <a:t> ). In this task, you have to use the transformer architecture of neural networks to perform a classification task for timeseries dataset.</a:t>
            </a:r>
            <a:endParaRPr lang="en-DE" sz="16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9667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d252221-ad83-4056-81b1-1a68873f36af"/>
</p:tagLst>
</file>

<file path=ppt/theme/theme1.xml><?xml version="1.0" encoding="utf-8"?>
<a:theme xmlns:a="http://schemas.openxmlformats.org/drawingml/2006/main" name="Fraunhofer Master">
  <a:themeElements>
    <a:clrScheme name="IPT_Farben_2010">
      <a:dk1>
        <a:srgbClr val="000000"/>
      </a:dk1>
      <a:lt1>
        <a:sysClr val="window" lastClr="FFFFFF"/>
      </a:lt1>
      <a:dk2>
        <a:srgbClr val="969696"/>
      </a:dk2>
      <a:lt2>
        <a:srgbClr val="DDDDDD"/>
      </a:lt2>
      <a:accent1>
        <a:srgbClr val="179C7D"/>
      </a:accent1>
      <a:accent2>
        <a:srgbClr val="5CBAA4"/>
      </a:accent2>
      <a:accent3>
        <a:srgbClr val="8BCDBE"/>
      </a:accent3>
      <a:accent4>
        <a:srgbClr val="B9E1D8"/>
      </a:accent4>
      <a:accent5>
        <a:srgbClr val="FFCC99"/>
      </a:accent5>
      <a:accent6>
        <a:srgbClr val="FF6600"/>
      </a:accent6>
      <a:hlink>
        <a:srgbClr val="0070C0"/>
      </a:hlink>
      <a:folHlink>
        <a:srgbClr val="7030A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raunhofer Master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B2CB9673E57444A193AA511C7AA6CD" ma:contentTypeVersion="2" ma:contentTypeDescription="Create a new document." ma:contentTypeScope="" ma:versionID="5d95104b9cf8576e813b2765644a6341">
  <xsd:schema xmlns:xsd="http://www.w3.org/2001/XMLSchema" xmlns:xs="http://www.w3.org/2001/XMLSchema" xmlns:p="http://schemas.microsoft.com/office/2006/metadata/properties" xmlns:ns2="023afa97-349c-49cb-bbfe-65120ca3bf21" targetNamespace="http://schemas.microsoft.com/office/2006/metadata/properties" ma:root="true" ma:fieldsID="9425144a452a878d0f11578825abd808" ns2:_="">
    <xsd:import namespace="023afa97-349c-49cb-bbfe-65120ca3b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3afa97-349c-49cb-bbfe-65120ca3bf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47B64EE-DBA6-42BE-AF69-2CAB2D1B3D13}"/>
</file>

<file path=customXml/itemProps2.xml><?xml version="1.0" encoding="utf-8"?>
<ds:datastoreItem xmlns:ds="http://schemas.openxmlformats.org/officeDocument/2006/customXml" ds:itemID="{509B64E5-730A-46EB-B350-24D4BCDAD6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4E7203-63CA-4139-9B26-A438646F349F}">
  <ds:schemaRefs>
    <ds:schemaRef ds:uri="0a7eeeb5-f651-44a1-b70a-872dbf839cd2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G Vorlage PPT_16x9</Template>
  <TotalTime>0</TotalTime>
  <Words>201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rutiger LT Com 45 Light</vt:lpstr>
      <vt:lpstr>Frutiger LT Com 55 Roman</vt:lpstr>
      <vt:lpstr>Wingdings</vt:lpstr>
      <vt:lpstr>Fraunhofer Master</vt:lpstr>
      <vt:lpstr>1_Fraunhofer Master</vt:lpstr>
      <vt:lpstr>Timeseries classification with Transformers</vt:lpstr>
    </vt:vector>
  </TitlesOfParts>
  <Company>Fraunhofer IP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schäftsmodell Leistungszentrum „Vernetzte, Adaptive Produktion“</dc:title>
  <dc:creator>Raphael Kiesel</dc:creator>
  <cp:lastModifiedBy>KATTA Praneeth</cp:lastModifiedBy>
  <cp:revision>3</cp:revision>
  <cp:lastPrinted>2011-04-27T07:57:31Z</cp:lastPrinted>
  <dcterms:created xsi:type="dcterms:W3CDTF">2018-02-09T15:16:08Z</dcterms:created>
  <dcterms:modified xsi:type="dcterms:W3CDTF">2022-05-20T12:4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HGvorlage">
    <vt:bool>true</vt:bool>
  </property>
  <property fmtid="{D5CDD505-2E9C-101B-9397-08002B2CF9AE}" pid="3" name="FHGsprache">
    <vt:lpwstr>de</vt:lpwstr>
  </property>
  <property fmtid="{D5CDD505-2E9C-101B-9397-08002B2CF9AE}" pid="4" name="hasChanged">
    <vt:bool>false</vt:bool>
  </property>
  <property fmtid="{D5CDD505-2E9C-101B-9397-08002B2CF9AE}" pid="5" name="klassifizierung">
    <vt:lpwstr>intern</vt:lpwstr>
  </property>
  <property fmtid="{D5CDD505-2E9C-101B-9397-08002B2CF9AE}" pid="6" name="pageCount">
    <vt:lpwstr>16</vt:lpwstr>
  </property>
  <property fmtid="{D5CDD505-2E9C-101B-9397-08002B2CF9AE}" pid="7" name="ContentTypeId">
    <vt:lpwstr>0x01010042B2CB9673E57444A193AA511C7AA6CD</vt:lpwstr>
  </property>
</Properties>
</file>